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44C3C93-A43A-4582-B6C9-44B0A7155368}"/>
    <pc:docChg chg="modSld">
      <pc:chgData name="Weigel Stefan (PAR-EPS)" userId="fd3b2067-2981-4ad8-bf3a-d2e1004e4fa8" providerId="ADAL" clId="{044C3C93-A43A-4582-B6C9-44B0A7155368}" dt="2025-02-21T09:25:26.505" v="2" actId="27918"/>
      <pc:docMkLst>
        <pc:docMk/>
      </pc:docMkLst>
      <pc:sldChg chg="mod">
        <pc:chgData name="Weigel Stefan (PAR-EPS)" userId="fd3b2067-2981-4ad8-bf3a-d2e1004e4fa8" providerId="ADAL" clId="{044C3C93-A43A-4582-B6C9-44B0A7155368}" dt="2025-02-21T09:25:26.505" v="2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Weigel Stefan (PAR-EPS)" userId="fd3b2067-2981-4ad8-bf3a-d2e1004e4fa8" providerId="ADAL" clId="{3A27B623-637C-46A0-A79D-6EAC2BA7DD62}"/>
    <pc:docChg chg="modSld">
      <pc:chgData name="Weigel Stefan (PAR-EPS)" userId="fd3b2067-2981-4ad8-bf3a-d2e1004e4fa8" providerId="ADAL" clId="{3A27B623-637C-46A0-A79D-6EAC2BA7DD62}" dt="2024-03-10T07:35:13.366" v="14" actId="20577"/>
      <pc:docMkLst>
        <pc:docMk/>
      </pc:docMkLst>
      <pc:sldChg chg="modSp mod">
        <pc:chgData name="Weigel Stefan (PAR-EPS)" userId="fd3b2067-2981-4ad8-bf3a-d2e1004e4fa8" providerId="ADAL" clId="{3A27B623-637C-46A0-A79D-6EAC2BA7DD62}" dt="2024-03-10T07:35:13.366" v="14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3A27B623-637C-46A0-A79D-6EAC2BA7DD62}" dt="2024-03-10T07:35:13.366" v="14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2-28T08:35:09.378" v="39" actId="27918"/>
      <pc:docMkLst>
        <pc:docMk/>
      </pc:docMkLst>
      <pc:sldChg chg="mod">
        <pc:chgData name="Weigel Stefan (PAR-EPS)" userId="fd3b2067-2981-4ad8-bf3a-d2e1004e4fa8" providerId="ADAL" clId="{86A99FCC-6F7B-4FC5-B31D-D6D058FD1A5C}" dt="2024-02-28T08:35:09.378" v="39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38CAED39-36CD-432F-859F-B3EF0B076DC9}"/>
    <pc:docChg chg="modSld">
      <pc:chgData name="Weigel Stefan (PAR-EPS)" userId="fd3b2067-2981-4ad8-bf3a-d2e1004e4fa8" providerId="ADAL" clId="{38CAED39-36CD-432F-859F-B3EF0B076DC9}" dt="2024-04-08T14:06:02.986" v="5" actId="207"/>
      <pc:docMkLst>
        <pc:docMk/>
      </pc:docMkLst>
      <pc:sldChg chg="modSp mod setBg">
        <pc:chgData name="Weigel Stefan (PAR-EPS)" userId="fd3b2067-2981-4ad8-bf3a-d2e1004e4fa8" providerId="ADAL" clId="{38CAED39-36CD-432F-859F-B3EF0B076DC9}" dt="2024-04-08T14:06:02.986" v="5" actId="207"/>
        <pc:sldMkLst>
          <pc:docMk/>
          <pc:sldMk cId="3613367002" sldId="402"/>
        </pc:sldMkLst>
        <pc:spChg chg="mod">
          <ac:chgData name="Weigel Stefan (PAR-EPS)" userId="fd3b2067-2981-4ad8-bf3a-d2e1004e4fa8" providerId="ADAL" clId="{38CAED39-36CD-432F-859F-B3EF0B076DC9}" dt="2024-04-08T14:05:51.808" v="4" actId="255"/>
          <ac:spMkLst>
            <pc:docMk/>
            <pc:sldMk cId="3613367002" sldId="402"/>
            <ac:spMk id="7" creationId="{8B4B6626-9A0F-4741-8F83-BF160AB040D0}"/>
          </ac:spMkLst>
        </pc:spChg>
        <pc:graphicFrameChg chg="mod">
          <ac:chgData name="Weigel Stefan (PAR-EPS)" userId="fd3b2067-2981-4ad8-bf3a-d2e1004e4fa8" providerId="ADAL" clId="{38CAED39-36CD-432F-859F-B3EF0B076DC9}" dt="2024-04-08T14:06:02.986" v="5" actId="207"/>
          <ac:graphicFrameMkLst>
            <pc:docMk/>
            <pc:sldMk cId="3613367002" sldId="402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isultato consolidato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372.88296333000102</c:v>
                </c:pt>
                <c:pt idx="1">
                  <c:v>245.66372648999999</c:v>
                </c:pt>
                <c:pt idx="2">
                  <c:v>380.637372325878</c:v>
                </c:pt>
                <c:pt idx="3">
                  <c:v>398.95878820453299</c:v>
                </c:pt>
                <c:pt idx="4">
                  <c:v>568.40585356027998</c:v>
                </c:pt>
                <c:pt idx="5">
                  <c:v>463.48435327405701</c:v>
                </c:pt>
                <c:pt idx="6">
                  <c:v>-617.01844565235501</c:v>
                </c:pt>
                <c:pt idx="7">
                  <c:v>-325.330509616754</c:v>
                </c:pt>
                <c:pt idx="8">
                  <c:v>-245.36702553034399</c:v>
                </c:pt>
                <c:pt idx="9">
                  <c:v>266.53405112842398</c:v>
                </c:pt>
                <c:pt idx="10">
                  <c:v>275.00206181303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858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7908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o. di </a:t>
          </a:r>
          <a:r>
            <a:rPr lang="de-CH" sz="1100" dirty="0">
              <a:solidFill>
                <a:srgbClr val="444444"/>
              </a:solidFill>
            </a:rPr>
            <a:t>CHF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 dirty="0"/>
              <a:t>Risultato consolidato FFS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19341201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FFEACA2-BA38-4C48-BCCE-76EB11D28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sultato consolidat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ultato consolidato FFS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